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4"/>
  </p:sldMasterIdLst>
  <p:notesMasterIdLst>
    <p:notesMasterId r:id="rId10"/>
  </p:notesMasterIdLst>
  <p:handoutMasterIdLst>
    <p:handoutMasterId r:id="rId11"/>
  </p:handoutMasterIdLst>
  <p:sldIdLst>
    <p:sldId id="256" r:id="rId5"/>
    <p:sldId id="260" r:id="rId6"/>
    <p:sldId id="261" r:id="rId7"/>
    <p:sldId id="262" r:id="rId8"/>
    <p:sldId id="259" r:id="rId9"/>
  </p:sldIdLst>
  <p:sldSz cx="9144000" cy="5715000" type="screen16x10"/>
  <p:notesSz cx="7102475" cy="10234613"/>
  <p:custDataLst>
    <p:tags r:id="rId12"/>
  </p:custDataLst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ine Stevens" initials="CS" lastIdx="1" clrIdx="0">
    <p:extLst>
      <p:ext uri="{19B8F6BF-5375-455C-9EA6-DF929625EA0E}">
        <p15:presenceInfo xmlns:p15="http://schemas.microsoft.com/office/powerpoint/2012/main" userId="S::carine.stevens@be.ey.com::62596d28-d305-41bf-8611-7461f69492d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24283F-AAD4-401A-8003-85406C4A99C4}" v="7" dt="2025-11-19T10:44:16.6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7" autoAdjust="0"/>
    <p:restoredTop sz="94674"/>
  </p:normalViewPr>
  <p:slideViewPr>
    <p:cSldViewPr snapToGrid="0" snapToObjects="1">
      <p:cViewPr varScale="1">
        <p:scale>
          <a:sx n="79" d="100"/>
          <a:sy n="79" d="100"/>
        </p:scale>
        <p:origin x="940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0" d="100"/>
          <a:sy n="50" d="100"/>
        </p:scale>
        <p:origin x="2672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Milis" userId="447d1298bba3a1ca" providerId="LiveId" clId="{6A44E4B4-0D70-4408-9550-22E9E8CC6983}"/>
    <pc:docChg chg="custSel addSld delSld modSld modMainMaster">
      <pc:chgData name="Koen Milis" userId="447d1298bba3a1ca" providerId="LiveId" clId="{6A44E4B4-0D70-4408-9550-22E9E8CC6983}" dt="2025-11-26T08:58:22.925" v="2174" actId="5793"/>
      <pc:docMkLst>
        <pc:docMk/>
      </pc:docMkLst>
      <pc:sldChg chg="modSp mod">
        <pc:chgData name="Koen Milis" userId="447d1298bba3a1ca" providerId="LiveId" clId="{6A44E4B4-0D70-4408-9550-22E9E8CC6983}" dt="2025-11-19T09:09:28.629" v="21" actId="20577"/>
        <pc:sldMkLst>
          <pc:docMk/>
          <pc:sldMk cId="23514211" sldId="256"/>
        </pc:sldMkLst>
        <pc:spChg chg="mod">
          <ac:chgData name="Koen Milis" userId="447d1298bba3a1ca" providerId="LiveId" clId="{6A44E4B4-0D70-4408-9550-22E9E8CC6983}" dt="2025-11-19T09:09:24.241" v="11" actId="20577"/>
          <ac:spMkLst>
            <pc:docMk/>
            <pc:sldMk cId="23514211" sldId="256"/>
            <ac:spMk id="24" creationId="{00000000-0000-0000-0000-000000000000}"/>
          </ac:spMkLst>
        </pc:spChg>
        <pc:spChg chg="mod">
          <ac:chgData name="Koen Milis" userId="447d1298bba3a1ca" providerId="LiveId" clId="{6A44E4B4-0D70-4408-9550-22E9E8CC6983}" dt="2025-11-19T09:09:28.629" v="21" actId="20577"/>
          <ac:spMkLst>
            <pc:docMk/>
            <pc:sldMk cId="23514211" sldId="256"/>
            <ac:spMk id="25" creationId="{00000000-0000-0000-0000-000000000000}"/>
          </ac:spMkLst>
        </pc:spChg>
      </pc:sldChg>
      <pc:sldChg chg="modSp mod">
        <pc:chgData name="Koen Milis" userId="447d1298bba3a1ca" providerId="LiveId" clId="{6A44E4B4-0D70-4408-9550-22E9E8CC6983}" dt="2025-11-19T10:40:43.815" v="1705" actId="20577"/>
        <pc:sldMkLst>
          <pc:docMk/>
          <pc:sldMk cId="2818707051" sldId="260"/>
        </pc:sldMkLst>
        <pc:spChg chg="mod">
          <ac:chgData name="Koen Milis" userId="447d1298bba3a1ca" providerId="LiveId" clId="{6A44E4B4-0D70-4408-9550-22E9E8CC6983}" dt="2025-11-19T09:09:49.135" v="32" actId="20577"/>
          <ac:spMkLst>
            <pc:docMk/>
            <pc:sldMk cId="2818707051" sldId="260"/>
            <ac:spMk id="6" creationId="{680C215C-B75F-15F1-800D-72E345A0708D}"/>
          </ac:spMkLst>
        </pc:spChg>
        <pc:spChg chg="mod">
          <ac:chgData name="Koen Milis" userId="447d1298bba3a1ca" providerId="LiveId" clId="{6A44E4B4-0D70-4408-9550-22E9E8CC6983}" dt="2025-11-19T10:25:40.525" v="1572" actId="20577"/>
          <ac:spMkLst>
            <pc:docMk/>
            <pc:sldMk cId="2818707051" sldId="260"/>
            <ac:spMk id="7" creationId="{1626F12F-A0AF-AE44-47EF-7A622F3E3769}"/>
          </ac:spMkLst>
        </pc:spChg>
        <pc:spChg chg="mod">
          <ac:chgData name="Koen Milis" userId="447d1298bba3a1ca" providerId="LiveId" clId="{6A44E4B4-0D70-4408-9550-22E9E8CC6983}" dt="2025-11-19T10:40:43.815" v="1705" actId="20577"/>
          <ac:spMkLst>
            <pc:docMk/>
            <pc:sldMk cId="2818707051" sldId="260"/>
            <ac:spMk id="9" creationId="{5E140E09-5F30-C1B6-2E10-8C94E4B9EC75}"/>
          </ac:spMkLst>
        </pc:spChg>
      </pc:sldChg>
      <pc:sldChg chg="modSp new mod modNotes">
        <pc:chgData name="Koen Milis" userId="447d1298bba3a1ca" providerId="LiveId" clId="{6A44E4B4-0D70-4408-9550-22E9E8CC6983}" dt="2025-11-19T16:24:23.022" v="2154" actId="6549"/>
        <pc:sldMkLst>
          <pc:docMk/>
          <pc:sldMk cId="1510121192" sldId="261"/>
        </pc:sldMkLst>
        <pc:spChg chg="mod">
          <ac:chgData name="Koen Milis" userId="447d1298bba3a1ca" providerId="LiveId" clId="{6A44E4B4-0D70-4408-9550-22E9E8CC6983}" dt="2025-11-19T09:14:27.912" v="56" actId="20577"/>
          <ac:spMkLst>
            <pc:docMk/>
            <pc:sldMk cId="1510121192" sldId="261"/>
            <ac:spMk id="2" creationId="{BE284998-ED16-6BE5-76BE-C6276CD88F7E}"/>
          </ac:spMkLst>
        </pc:spChg>
        <pc:spChg chg="mod">
          <ac:chgData name="Koen Milis" userId="447d1298bba3a1ca" providerId="LiveId" clId="{6A44E4B4-0D70-4408-9550-22E9E8CC6983}" dt="2025-11-19T09:14:35.224" v="66" actId="20577"/>
          <ac:spMkLst>
            <pc:docMk/>
            <pc:sldMk cId="1510121192" sldId="261"/>
            <ac:spMk id="3" creationId="{1BA1EBE6-235B-94E9-7C10-C0A38CD24818}"/>
          </ac:spMkLst>
        </pc:spChg>
        <pc:spChg chg="mod">
          <ac:chgData name="Koen Milis" userId="447d1298bba3a1ca" providerId="LiveId" clId="{6A44E4B4-0D70-4408-9550-22E9E8CC6983}" dt="2025-11-19T10:43:51.842" v="1813" actId="27636"/>
          <ac:spMkLst>
            <pc:docMk/>
            <pc:sldMk cId="1510121192" sldId="261"/>
            <ac:spMk id="4" creationId="{1723904F-4F3C-8223-73D7-6A927D7C66A3}"/>
          </ac:spMkLst>
        </pc:spChg>
      </pc:sldChg>
      <pc:sldChg chg="modSp new mod modNotes">
        <pc:chgData name="Koen Milis" userId="447d1298bba3a1ca" providerId="LiveId" clId="{6A44E4B4-0D70-4408-9550-22E9E8CC6983}" dt="2025-11-26T08:58:22.925" v="2174" actId="5793"/>
        <pc:sldMkLst>
          <pc:docMk/>
          <pc:sldMk cId="1604731096" sldId="262"/>
        </pc:sldMkLst>
        <pc:spChg chg="mod">
          <ac:chgData name="Koen Milis" userId="447d1298bba3a1ca" providerId="LiveId" clId="{6A44E4B4-0D70-4408-9550-22E9E8CC6983}" dt="2025-11-19T09:23:15.796" v="477" actId="20577"/>
          <ac:spMkLst>
            <pc:docMk/>
            <pc:sldMk cId="1604731096" sldId="262"/>
            <ac:spMk id="2" creationId="{5212E828-397C-5904-57B2-6FE458D6A2D6}"/>
          </ac:spMkLst>
        </pc:spChg>
        <pc:spChg chg="mod">
          <ac:chgData name="Koen Milis" userId="447d1298bba3a1ca" providerId="LiveId" clId="{6A44E4B4-0D70-4408-9550-22E9E8CC6983}" dt="2025-11-19T09:23:20.540" v="484" actId="20577"/>
          <ac:spMkLst>
            <pc:docMk/>
            <pc:sldMk cId="1604731096" sldId="262"/>
            <ac:spMk id="3" creationId="{A5072EEF-8FCF-2356-3B4F-0B979A5B8537}"/>
          </ac:spMkLst>
        </pc:spChg>
        <pc:spChg chg="mod">
          <ac:chgData name="Koen Milis" userId="447d1298bba3a1ca" providerId="LiveId" clId="{6A44E4B4-0D70-4408-9550-22E9E8CC6983}" dt="2025-11-26T08:58:22.925" v="2174" actId="5793"/>
          <ac:spMkLst>
            <pc:docMk/>
            <pc:sldMk cId="1604731096" sldId="262"/>
            <ac:spMk id="4" creationId="{E735DB78-6833-EDCA-9AEF-2291093BB2C1}"/>
          </ac:spMkLst>
        </pc:spChg>
      </pc:sldChg>
      <pc:sldMasterChg chg="modSldLayout">
        <pc:chgData name="Koen Milis" userId="447d1298bba3a1ca" providerId="LiveId" clId="{6A44E4B4-0D70-4408-9550-22E9E8CC6983}" dt="2025-11-19T10:28:16.046" v="1613" actId="20577"/>
        <pc:sldMasterMkLst>
          <pc:docMk/>
          <pc:sldMasterMk cId="135793045" sldId="2147483666"/>
        </pc:sldMasterMkLst>
        <pc:sldLayoutChg chg="modSp mod">
          <pc:chgData name="Koen Milis" userId="447d1298bba3a1ca" providerId="LiveId" clId="{6A44E4B4-0D70-4408-9550-22E9E8CC6983}" dt="2025-11-19T10:28:16.046" v="1613" actId="20577"/>
          <pc:sldLayoutMkLst>
            <pc:docMk/>
            <pc:sldMasterMk cId="135793045" sldId="2147483666"/>
            <pc:sldLayoutMk cId="1979784400" sldId="2147483682"/>
          </pc:sldLayoutMkLst>
          <pc:spChg chg="mod">
            <ac:chgData name="Koen Milis" userId="447d1298bba3a1ca" providerId="LiveId" clId="{6A44E4B4-0D70-4408-9550-22E9E8CC6983}" dt="2025-11-19T10:28:16.046" v="1613" actId="20577"/>
            <ac:spMkLst>
              <pc:docMk/>
              <pc:sldMasterMk cId="135793045" sldId="2147483666"/>
              <pc:sldLayoutMk cId="1979784400" sldId="2147483682"/>
              <ac:spMk id="11" creationId="{68EA6D74-764E-4071-8A6B-2BA8B575AE6A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90ABC58-1508-4695-9800-B53C4CA402D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3A7C06-9DC8-4CF8-9903-2F4BBEC0DC8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A2D841-73AE-4A09-A713-FC11055A7BE8}" type="datetimeFigureOut">
              <a:rPr lang="en-GB" smtClean="0"/>
              <a:t>26/1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45B355-27F6-400D-9409-C75167D14A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3EE709-5AA2-4573-87D9-504EE5F871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E7CA4F-10D8-4610-BB0F-25F50B5793B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44729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3508"/>
          </a:xfrm>
          <a:prstGeom prst="rect">
            <a:avLst/>
          </a:prstGeom>
        </p:spPr>
        <p:txBody>
          <a:bodyPr vert="horz" lIns="95408" tIns="47704" rIns="95408" bIns="47704" rtlCol="0"/>
          <a:lstStyle>
            <a:lvl1pPr algn="l">
              <a:defRPr sz="13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5408" tIns="47704" rIns="95408" bIns="47704" rtlCol="0"/>
          <a:lstStyle>
            <a:lvl1pPr algn="r">
              <a:defRPr sz="1300"/>
            </a:lvl1pPr>
          </a:lstStyle>
          <a:p>
            <a:fld id="{46DE561C-D289-7144-B548-D4710B80D462}" type="datetimeFigureOut">
              <a:rPr lang="it-IT" smtClean="0"/>
              <a:t>26/11/2025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1277938"/>
            <a:ext cx="552767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08" tIns="47704" rIns="95408" bIns="47704" rtlCol="0" anchor="ctr"/>
          <a:lstStyle/>
          <a:p>
            <a:endParaRPr lang="it-IT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10248" y="4925411"/>
            <a:ext cx="5681980" cy="4029879"/>
          </a:xfrm>
          <a:prstGeom prst="rect">
            <a:avLst/>
          </a:prstGeom>
        </p:spPr>
        <p:txBody>
          <a:bodyPr vert="horz" lIns="95408" tIns="47704" rIns="95408" bIns="47704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1110"/>
            <a:ext cx="3077739" cy="513507"/>
          </a:xfrm>
          <a:prstGeom prst="rect">
            <a:avLst/>
          </a:prstGeom>
        </p:spPr>
        <p:txBody>
          <a:bodyPr vert="horz" lIns="95408" tIns="47704" rIns="95408" bIns="47704" rtlCol="0" anchor="b"/>
          <a:lstStyle>
            <a:lvl1pPr algn="l">
              <a:defRPr sz="1300"/>
            </a:lvl1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3093" y="9721110"/>
            <a:ext cx="3077739" cy="513507"/>
          </a:xfrm>
          <a:prstGeom prst="rect">
            <a:avLst/>
          </a:prstGeom>
        </p:spPr>
        <p:txBody>
          <a:bodyPr vert="horz" lIns="95408" tIns="47704" rIns="95408" bIns="47704" rtlCol="0" anchor="b"/>
          <a:lstStyle>
            <a:lvl1pPr algn="r">
              <a:defRPr sz="1300"/>
            </a:lvl1pPr>
          </a:lstStyle>
          <a:p>
            <a:fld id="{35660827-87DC-2E48-A79F-D2E5DB458AA7}" type="slidenum">
              <a:rPr lang="it-IT" smtClean="0"/>
              <a:t>‹nr.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240919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60827-87DC-2E48-A79F-D2E5DB458AA7}" type="slidenum">
              <a:rPr lang="it-IT" smtClean="0"/>
              <a:t>1</a:t>
            </a:fld>
            <a:endParaRPr lang="it-I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B0F89A-6391-461F-9528-8A6E8B8E13D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04928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660827-87DC-2E48-A79F-D2E5DB458AA7}" type="slidenum">
              <a:rPr lang="it-IT" smtClean="0"/>
              <a:t>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581528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660827-87DC-2E48-A79F-D2E5DB458AA7}" type="slidenum">
              <a:rPr lang="it-IT" smtClean="0"/>
              <a:t>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68145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660827-87DC-2E48-A79F-D2E5DB458AA7}" type="slidenum">
              <a:rPr lang="it-IT" smtClean="0"/>
              <a:t>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89739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DF453F-36F2-E1C7-6FCC-1337ECAC6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90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DF453F-36F2-E1C7-6FCC-1337ECAC6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675334-1412-FD92-7C4A-A1FB666CBA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3000" y="935302"/>
            <a:ext cx="6858000" cy="1989667"/>
          </a:xfrm>
        </p:spPr>
        <p:txBody>
          <a:bodyPr vert="horz" anchor="b"/>
          <a:lstStyle>
            <a:lvl1pPr algn="ctr">
              <a:defRPr sz="45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F9BBECE-5E7C-E52B-3C97-1D45B9AC51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accent5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8136099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28E6DEB-710F-0100-3F99-2FB75AAB8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2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E6DEB-710F-0100-3F99-2FB75AAB8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5353DC4-C933-7865-8131-EF700D9A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130C6512-C4B9-15A0-4D12-7E9ADE6723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63166620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21ECC-4BB2-C50C-92B2-E568CFCA82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7171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21ECC-4BB2-C50C-92B2-E568CFCA8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e titel 1">
            <a:extLst>
              <a:ext uri="{FF2B5EF4-FFF2-40B4-BE49-F238E27FC236}">
                <a16:creationId xmlns:a16="http://schemas.microsoft.com/office/drawing/2014/main" id="{290D073D-0127-6EF2-1A69-9184D3948986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6543675" y="304271"/>
            <a:ext cx="1971675" cy="484319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91AC538-92D1-7CF2-15ED-7DADDE9D49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33001483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6F25B6-1FCD-35ED-25E3-18FBCF9ED1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8392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6F25B6-1FCD-35ED-25E3-18FBCF9ED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1" y="447593"/>
            <a:ext cx="7931876" cy="52842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80" b="1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651" y="1027660"/>
            <a:ext cx="7931876" cy="38404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160">
                <a:solidFill>
                  <a:schemeClr val="accent5"/>
                </a:solidFill>
              </a:defRPr>
            </a:lvl1pPr>
            <a:lvl2pPr marL="308610" indent="0">
              <a:buNone/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 marL="617220" indent="0">
              <a:buNone/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 marL="925830" indent="0">
              <a:buNone/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 marL="1234440" indent="0">
              <a:buNone/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Segnaposto immagine 4"/>
          <p:cNvSpPr>
            <a:spLocks noGrp="1"/>
          </p:cNvSpPr>
          <p:nvPr>
            <p:ph type="pic" sz="quarter" idx="15"/>
          </p:nvPr>
        </p:nvSpPr>
        <p:spPr>
          <a:xfrm>
            <a:off x="628651" y="1524000"/>
            <a:ext cx="3823063" cy="25628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noProof="0"/>
              <a:t>Klik op het pictogram als u een afbeelding wilt toevoegen</a:t>
            </a:r>
            <a:endParaRPr lang="en-GB" noProof="0"/>
          </a:p>
        </p:txBody>
      </p:sp>
      <p:sp>
        <p:nvSpPr>
          <p:cNvPr id="19" name="Segnaposto immagine 4"/>
          <p:cNvSpPr>
            <a:spLocks noGrp="1"/>
          </p:cNvSpPr>
          <p:nvPr>
            <p:ph type="pic" sz="quarter" idx="16"/>
          </p:nvPr>
        </p:nvSpPr>
        <p:spPr>
          <a:xfrm>
            <a:off x="4737464" y="1524000"/>
            <a:ext cx="3823063" cy="25628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 noProof="0"/>
              <a:t>Klik op het pictogram als u een afbeelding wilt toevoegen</a:t>
            </a:r>
            <a:endParaRPr lang="en-GB" noProof="0"/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0" y="4232276"/>
            <a:ext cx="3822700" cy="459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60">
                <a:solidFill>
                  <a:schemeClr val="tx2"/>
                </a:solidFill>
              </a:defRPr>
            </a:lvl1pPr>
            <a:lvl2pPr marL="308610" indent="0">
              <a:buNone/>
              <a:defRPr sz="1260"/>
            </a:lvl2pPr>
            <a:lvl3pPr marL="617220" indent="0">
              <a:buNone/>
              <a:defRPr sz="1260"/>
            </a:lvl3pPr>
            <a:lvl4pPr marL="925830" indent="0">
              <a:buNone/>
              <a:defRPr sz="1260"/>
            </a:lvl4pPr>
            <a:lvl5pPr marL="1234440" indent="0">
              <a:buNone/>
              <a:defRPr sz="1260"/>
            </a:lvl5pPr>
          </a:lstStyle>
          <a:p>
            <a:pPr lvl="0"/>
            <a:r>
              <a:rPr lang="en-GB" noProof="0"/>
              <a:t>Description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737464" y="4232276"/>
            <a:ext cx="3822700" cy="459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60">
                <a:solidFill>
                  <a:schemeClr val="tx2"/>
                </a:solidFill>
              </a:defRPr>
            </a:lvl1pPr>
            <a:lvl2pPr marL="308610" indent="0">
              <a:buNone/>
              <a:defRPr sz="1260"/>
            </a:lvl2pPr>
            <a:lvl3pPr marL="617220" indent="0">
              <a:buNone/>
              <a:defRPr sz="1260"/>
            </a:lvl3pPr>
            <a:lvl4pPr marL="925830" indent="0">
              <a:buNone/>
              <a:defRPr sz="1260"/>
            </a:lvl4pPr>
            <a:lvl5pPr marL="1234440" indent="0">
              <a:buNone/>
              <a:defRPr sz="1260"/>
            </a:lvl5pPr>
          </a:lstStyle>
          <a:p>
            <a:pPr lvl="0"/>
            <a:r>
              <a:rPr lang="en-GB" noProof="0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314255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8A9F626-B339-A4E4-68F7-226CD203A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568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A9F626-B339-A4E4-68F7-226CD203A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3127" y="1044026"/>
            <a:ext cx="6284214" cy="546714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200" b="1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TITLE OF THE DOCU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3127" y="1691325"/>
            <a:ext cx="6284214" cy="6126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5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249492-D520-21FD-3563-A8F34DD974F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10000"/>
          </a:blip>
          <a:srcRect l="27076" b="3123"/>
          <a:stretch>
            <a:fillRect/>
          </a:stretch>
        </p:blipFill>
        <p:spPr>
          <a:xfrm>
            <a:off x="0" y="2303018"/>
            <a:ext cx="3434080" cy="341198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A5CC647-4FF1-5910-D79E-3B9FB69877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70268" y="4876800"/>
            <a:ext cx="2259408" cy="55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604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9C943B7-B0D6-7EAA-0FB7-B8FA5D048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708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943B7-B0D6-7EAA-0FB7-B8FA5D048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456951"/>
            <a:ext cx="7931876" cy="52842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650" y="1037017"/>
            <a:ext cx="7931876" cy="38404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>
                <a:solidFill>
                  <a:schemeClr val="accent5"/>
                </a:solidFill>
              </a:defRPr>
            </a:lvl1pPr>
            <a:lvl2pPr marL="342900" indent="0">
              <a:buNone/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 marL="685800" indent="0">
              <a:buNone/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 marL="1028700" indent="0">
              <a:buNone/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 marL="1371600" indent="0">
              <a:buNone/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28650" y="1576039"/>
            <a:ext cx="7931876" cy="31154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514350" indent="-1714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>
              <a:defRPr lang="en-GB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GB" noProof="0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8C1B1643-BAAD-4965-BDA9-93DBF4BB1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8650" y="5414300"/>
            <a:ext cx="219612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B3F9EF25-FE66-A943-8374-1048EB10CF80}" type="slidenum">
              <a:rPr lang="en-GB" smtClean="0"/>
              <a:pPr/>
              <a:t>‹nr.›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61A04CA-2F66-481D-B72F-FB4F771CAFC5}"/>
              </a:ext>
            </a:extLst>
          </p:cNvPr>
          <p:cNvSpPr txBox="1"/>
          <p:nvPr userDrawn="1"/>
        </p:nvSpPr>
        <p:spPr>
          <a:xfrm rot="10800000">
            <a:off x="842886" y="5379015"/>
            <a:ext cx="8524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|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8EA6D74-764E-4071-8A6B-2BA8B575AE6A}"/>
              </a:ext>
            </a:extLst>
          </p:cNvPr>
          <p:cNvSpPr txBox="1"/>
          <p:nvPr userDrawn="1"/>
        </p:nvSpPr>
        <p:spPr>
          <a:xfrm>
            <a:off x="922750" y="5379015"/>
            <a:ext cx="3315547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800" dirty="0">
                <a:solidFill>
                  <a:schemeClr val="accent5"/>
                </a:solidFill>
              </a:rPr>
              <a:t>Florence School of Regulatio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CE4630C-6437-5C41-E493-D08DD9EA8A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65244" y="5230577"/>
            <a:ext cx="895282" cy="306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784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 userDrawn="1"/>
        </p:nvSpPr>
        <p:spPr>
          <a:xfrm>
            <a:off x="4643846" y="2395835"/>
            <a:ext cx="399532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000" noProof="0" dirty="0">
                <a:solidFill>
                  <a:schemeClr val="accent4"/>
                </a:solidFill>
                <a:latin typeface="Aptos" panose="020B0004020202020204" pitchFamily="34" charset="0"/>
              </a:rPr>
              <a:t>THANK YOU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7F1949C6-4AEF-6AD9-F028-E205FEF94066}"/>
              </a:ext>
            </a:extLst>
          </p:cNvPr>
          <p:cNvSpPr/>
          <p:nvPr userDrawn="1"/>
        </p:nvSpPr>
        <p:spPr>
          <a:xfrm>
            <a:off x="7076302" y="5189838"/>
            <a:ext cx="2067697" cy="525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3DDA52-81EB-1637-C45D-5943D21B99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8333"/>
          <a:stretch>
            <a:fillRect/>
          </a:stretch>
        </p:blipFill>
        <p:spPr>
          <a:xfrm>
            <a:off x="0" y="1096518"/>
            <a:ext cx="4316730" cy="352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254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BC3B5F-8915-224F-552B-2316519B5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205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BC3B5F-8915-224F-552B-2316519B5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3A1182-2D78-3DD3-92BD-37476A64F9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4A332C5-B7C7-8E57-1D0C-E1CD93DD7F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68666774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5F25E0-4AEB-3CB7-46AE-8D15F6451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73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F25E0-4AEB-3CB7-46AE-8D15F6451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0C76BD6-1025-F0CD-E70B-06FD59E1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7" y="1424782"/>
            <a:ext cx="7886700" cy="2377281"/>
          </a:xfrm>
        </p:spPr>
        <p:txBody>
          <a:bodyPr vert="horz" anchor="b"/>
          <a:lstStyle>
            <a:lvl1pPr>
              <a:defRPr sz="45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8381576-DB4C-5A6D-A060-DB218FFEA7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5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550762577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0CAD4BE-D4BF-2391-BA29-2D3BA8192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235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CAD4BE-D4BF-2391-BA29-2D3BA8192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56047A5-1E49-E5B7-26FA-A56B2705C3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223B91A-70C1-0DAD-F9AF-A4A67196A0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994BFDA-0ACD-028A-FD25-C763E82D89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8661320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E6CFE75-5812-B44A-45BD-B12F50759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2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6CFE75-5812-B44A-45BD-B12F50759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D3D1710-CD52-1199-8708-2CBC6250ED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304271"/>
            <a:ext cx="7886700" cy="1104636"/>
          </a:xfrm>
        </p:spPr>
        <p:txBody>
          <a:bodyPr vert="horz"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CE669CA-DCB8-0857-EB47-9E4E39A6F2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932B8787-88FA-B74F-29A3-731DB594FD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D398833-A10D-F5A6-341F-78F2BBF4EB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1477AE6D-4D20-052E-B23B-65D547C882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71677416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5CA707-73DF-1606-8BC8-937B2D638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5804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CA707-73DF-1606-8BC8-937B2D638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1DC5F9-B509-2C9A-57E1-3BE64FB12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nl-NL"/>
              <a:t>Klik om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0094774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61392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60E624-62B3-8170-862A-509F72F7E4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55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60E624-62B3-8170-862A-509F72F7E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4AD3B1D-82CE-D3C5-A6B9-456C57755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381000"/>
            <a:ext cx="2949178" cy="1333500"/>
          </a:xfrm>
        </p:spPr>
        <p:txBody>
          <a:bodyPr vert="horz" anchor="b"/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AC6CFCF-8CEB-E035-650F-5DF918F74D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AB6B4621-B5B4-9838-D4E7-E600F061F1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5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0598343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33D7EC3-3242-64C4-FF14-C557A4112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44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3D7EC3-3242-64C4-FF14-C557A4112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229AA7E-5AB5-A10B-15B0-16CF5A10B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381000"/>
            <a:ext cx="2949178" cy="1333500"/>
          </a:xfrm>
        </p:spPr>
        <p:txBody>
          <a:bodyPr vert="horz" anchor="b"/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24B655A3-203F-E543-AFA8-89F197AEEE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370A892-F82F-2D90-0F40-5C858A6AA3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5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99141713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8BC1A1-628F-5098-7DC5-C58558C89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95749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BC1A1-628F-5098-7DC5-C58558C89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1650C934-6FFD-9344-390D-7A5406E4A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Klik om stijl te bewerken</a:t>
            </a:r>
            <a:endParaRPr lang="nl-BE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F4E7F45-3EA1-5EC2-6E13-14022CEA44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1D2DE76-9C10-BB8E-4C39-05F6FCE95297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7294473" y="5219844"/>
            <a:ext cx="1266053" cy="31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93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2" r:id="rId14"/>
    <p:sldLayoutId id="2147483681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accent4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FEDD0D1-EFBF-60CD-E684-74A6DF0CB0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092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EDD0D1-EFBF-60CD-E684-74A6DF0CB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olo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S 2+</a:t>
            </a:r>
          </a:p>
        </p:txBody>
      </p:sp>
      <p:sp>
        <p:nvSpPr>
          <p:cNvPr id="25" name="Segnaposto contenuto 24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GB" dirty="0"/>
              <a:t>Challenges</a:t>
            </a:r>
          </a:p>
        </p:txBody>
      </p:sp>
    </p:spTree>
    <p:extLst>
      <p:ext uri="{BB962C8B-B14F-4D97-AF65-F5344CB8AC3E}">
        <p14:creationId xmlns:p14="http://schemas.microsoft.com/office/powerpoint/2010/main" val="2351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1FFD35-04FE-FD17-8F65-5B2C25423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E8E11E-88DD-6EA3-D668-DDB268526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8560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E8E11E-88DD-6EA3-D668-DDB268526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80C215C-B75F-15F1-800D-72E345A07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 of PRB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626F12F-A0AF-AE44-47EF-7A622F3E37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trenghts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E140E09-5F30-C1B6-2E10-8C94E4B9EC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dirty="0"/>
              <a:t>Expertise and knowledge are present within regulator (PRB)</a:t>
            </a:r>
            <a:endParaRPr lang="nl-BE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dirty="0"/>
              <a:t>In-depth and data driven analyses</a:t>
            </a:r>
            <a:endParaRPr lang="nl-B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 European wide 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 legal mand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trengthen and enhanced role of PR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BE" dirty="0"/>
          </a:p>
          <a:p>
            <a:endParaRPr lang="en-US" dirty="0"/>
          </a:p>
        </p:txBody>
      </p:sp>
      <p:sp>
        <p:nvSpPr>
          <p:cNvPr id="8" name="Segnaposto numero diapositiva 7">
            <a:extLst>
              <a:ext uri="{FF2B5EF4-FFF2-40B4-BE49-F238E27FC236}">
                <a16:creationId xmlns:a16="http://schemas.microsoft.com/office/drawing/2014/main" id="{B3F3F919-6B3B-2E39-FE7E-BB349C107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B3F9EF25-FE66-A943-8374-1048EB10CF80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70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284998-ED16-6BE5-76BE-C6276CD8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View of PRB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BA1EBE6-235B-94E9-7C10-C0A38CD248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improve</a:t>
            </a:r>
            <a:endParaRPr lang="nl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723904F-4F3C-8223-73D7-6A927D7C66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dirty="0" err="1"/>
              <a:t>Enforcement</a:t>
            </a:r>
            <a:r>
              <a:rPr lang="nl-BE" dirty="0"/>
              <a:t>- / </a:t>
            </a:r>
            <a:r>
              <a:rPr lang="nl-BE" dirty="0" err="1"/>
              <a:t>sanction</a:t>
            </a:r>
            <a:r>
              <a:rPr lang="nl-BE" dirty="0"/>
              <a:t> pow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dirty="0"/>
              <a:t>Long, complex &amp; resource intensive procedures</a:t>
            </a:r>
          </a:p>
          <a:p>
            <a:pPr marL="857250" lvl="1" indent="-342900"/>
            <a:r>
              <a:rPr lang="nl-BE" dirty="0" err="1"/>
              <a:t>Some</a:t>
            </a:r>
            <a:r>
              <a:rPr lang="nl-BE" dirty="0"/>
              <a:t> </a:t>
            </a:r>
            <a:r>
              <a:rPr lang="nl-BE" dirty="0" err="1"/>
              <a:t>aspects</a:t>
            </a:r>
            <a:r>
              <a:rPr lang="nl-BE" dirty="0"/>
              <a:t> </a:t>
            </a:r>
            <a:r>
              <a:rPr lang="nl-BE" dirty="0" err="1"/>
              <a:t>too</a:t>
            </a:r>
            <a:r>
              <a:rPr lang="nl-BE" dirty="0"/>
              <a:t> </a:t>
            </a:r>
            <a:r>
              <a:rPr lang="nl-BE" dirty="0" err="1"/>
              <a:t>detailed</a:t>
            </a:r>
            <a:endParaRPr lang="nl-BE" dirty="0"/>
          </a:p>
          <a:p>
            <a:pPr marL="857250" lvl="1" indent="-342900"/>
            <a:r>
              <a:rPr lang="nl-BE" dirty="0" err="1"/>
              <a:t>Some</a:t>
            </a:r>
            <a:r>
              <a:rPr lang="nl-BE" dirty="0"/>
              <a:t> </a:t>
            </a:r>
            <a:r>
              <a:rPr lang="nl-BE" dirty="0" err="1"/>
              <a:t>aspects</a:t>
            </a:r>
            <a:r>
              <a:rPr lang="nl-BE" dirty="0"/>
              <a:t> </a:t>
            </a:r>
            <a:r>
              <a:rPr lang="nl-BE" dirty="0" err="1"/>
              <a:t>still</a:t>
            </a:r>
            <a:r>
              <a:rPr lang="nl-BE" dirty="0"/>
              <a:t> open </a:t>
            </a:r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interpretation</a:t>
            </a:r>
            <a:endParaRPr lang="nl-B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dirty="0" err="1"/>
              <a:t>Collaboration</a:t>
            </a:r>
            <a:r>
              <a:rPr lang="nl-BE" dirty="0"/>
              <a:t> </a:t>
            </a:r>
            <a:r>
              <a:rPr lang="nl-BE" dirty="0" err="1"/>
              <a:t>with</a:t>
            </a:r>
            <a:r>
              <a:rPr lang="nl-BE" dirty="0"/>
              <a:t> </a:t>
            </a:r>
            <a:r>
              <a:rPr lang="nl-BE" dirty="0" err="1"/>
              <a:t>other</a:t>
            </a:r>
            <a:r>
              <a:rPr lang="nl-BE" dirty="0"/>
              <a:t> </a:t>
            </a:r>
            <a:r>
              <a:rPr lang="nl-BE" dirty="0" err="1"/>
              <a:t>entities</a:t>
            </a:r>
            <a:r>
              <a:rPr lang="nl-BE" dirty="0"/>
              <a:t>: overlap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commonalities</a:t>
            </a:r>
            <a:endParaRPr lang="nl-B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dirty="0" err="1"/>
              <a:t>Elements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</a:t>
            </a:r>
            <a:r>
              <a:rPr lang="nl-BE" dirty="0" err="1"/>
              <a:t>should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</a:t>
            </a:r>
            <a:r>
              <a:rPr lang="nl-BE" dirty="0" err="1"/>
              <a:t>integrated</a:t>
            </a:r>
            <a:endParaRPr lang="nl-BE" dirty="0"/>
          </a:p>
          <a:p>
            <a:pPr marL="857250" lvl="1" indent="-342900"/>
            <a:r>
              <a:rPr lang="nl-BE" dirty="0"/>
              <a:t>Spill over </a:t>
            </a:r>
            <a:r>
              <a:rPr lang="nl-BE" dirty="0" err="1"/>
              <a:t>effects</a:t>
            </a:r>
            <a:r>
              <a:rPr lang="nl-BE" dirty="0"/>
              <a:t> </a:t>
            </a:r>
            <a:r>
              <a:rPr lang="nl-BE" dirty="0" err="1"/>
              <a:t>ANSP’s</a:t>
            </a:r>
            <a:r>
              <a:rPr lang="nl-BE" dirty="0"/>
              <a:t> / </a:t>
            </a:r>
            <a:r>
              <a:rPr lang="nl-BE" dirty="0" err="1"/>
              <a:t>network</a:t>
            </a:r>
            <a:r>
              <a:rPr lang="nl-BE" dirty="0"/>
              <a:t> </a:t>
            </a:r>
          </a:p>
          <a:p>
            <a:pPr marL="857250" lvl="1" indent="-342900"/>
            <a:r>
              <a:rPr lang="nl-BE" dirty="0" err="1"/>
              <a:t>Disruption</a:t>
            </a:r>
            <a:endParaRPr lang="nl-BE" dirty="0"/>
          </a:p>
          <a:p>
            <a:pPr marL="857250" lvl="1" indent="-342900"/>
            <a:r>
              <a:rPr lang="nl-BE" dirty="0" err="1"/>
              <a:t>Stimulation</a:t>
            </a:r>
            <a:r>
              <a:rPr lang="nl-BE" dirty="0"/>
              <a:t> </a:t>
            </a:r>
            <a:r>
              <a:rPr lang="nl-BE" dirty="0" err="1"/>
              <a:t>innovation</a:t>
            </a:r>
            <a:endParaRPr lang="nl-B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BE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19162FA-C562-FB7E-898B-183E22C95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9EF25-FE66-A943-8374-1048EB10CF80}" type="slidenum">
              <a:rPr lang="en-GB" smtClean="0"/>
              <a:pPr/>
              <a:t>3</a:t>
            </a:fld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01211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12E828-397C-5904-57B2-6FE458D6A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View of </a:t>
            </a:r>
            <a:r>
              <a:rPr lang="nl-BE" dirty="0" err="1"/>
              <a:t>the</a:t>
            </a:r>
            <a:r>
              <a:rPr lang="nl-BE" dirty="0"/>
              <a:t> PRB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5072EEF-8FCF-2356-3B4F-0B979A5B85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/>
              <a:t>Actions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735DB78-6833-EDCA-9AEF-2291093BB2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650" y="1576039"/>
            <a:ext cx="7931876" cy="3489575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trengthen the position of the PRB in the landscape</a:t>
            </a:r>
          </a:p>
          <a:p>
            <a:pPr marL="857250" lvl="1" indent="-342900"/>
            <a:r>
              <a:rPr lang="en-GB" dirty="0"/>
              <a:t>Closer collaboration stakeholders (NSA, NCB, M-S, ANSP’s</a:t>
            </a:r>
            <a:r>
              <a:rPr lang="en-GB"/>
              <a:t>, Airlines,…)</a:t>
            </a:r>
            <a:endParaRPr lang="en-GB" dirty="0"/>
          </a:p>
          <a:p>
            <a:pPr marL="1200150" lvl="2" indent="-342900"/>
            <a:r>
              <a:rPr lang="en-GB" dirty="0"/>
              <a:t>Enhanced &amp; closer monitoring</a:t>
            </a:r>
          </a:p>
          <a:p>
            <a:pPr marL="1200150" lvl="2" indent="-342900"/>
            <a:r>
              <a:rPr lang="en-GB" dirty="0"/>
              <a:t>Guiding material</a:t>
            </a:r>
          </a:p>
          <a:p>
            <a:pPr marL="857250" lvl="1" indent="-342900"/>
            <a:r>
              <a:rPr lang="en-GB" dirty="0"/>
              <a:t>Clear and thorough collaboration with other ent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ctively engage in the development of RP5</a:t>
            </a:r>
          </a:p>
          <a:p>
            <a:pPr marL="857250" lvl="1" indent="-342900"/>
            <a:r>
              <a:rPr lang="en-GB" dirty="0"/>
              <a:t>Revision KPI</a:t>
            </a:r>
          </a:p>
          <a:p>
            <a:pPr marL="857250" lvl="1" indent="-342900"/>
            <a:r>
              <a:rPr lang="en-GB" dirty="0"/>
              <a:t>Process</a:t>
            </a:r>
          </a:p>
          <a:p>
            <a:pPr marL="857250" lvl="1" indent="-342900"/>
            <a:r>
              <a:rPr lang="en-GB" dirty="0"/>
              <a:t>Incentive sche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mmunicate bet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epare for disruptive ev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tegrate innovation in RP5 by also creating incentives</a:t>
            </a:r>
            <a:endParaRPr lang="nl-BE" dirty="0"/>
          </a:p>
          <a:p>
            <a:pPr marL="342900" indent="-342900"/>
            <a:endParaRPr lang="en-GB" dirty="0"/>
          </a:p>
          <a:p>
            <a:pPr marL="857250" lvl="1" indent="-342900"/>
            <a:endParaRPr lang="nl-BE" dirty="0"/>
          </a:p>
          <a:p>
            <a:pPr marL="342900" indent="-342900"/>
            <a:endParaRPr lang="nl-BE" dirty="0"/>
          </a:p>
          <a:p>
            <a:endParaRPr lang="nl-BE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E1F1585-F52F-BC7D-AAB7-F72FFF5B6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9EF25-FE66-A943-8374-1048EB10CF80}" type="slidenum">
              <a:rPr lang="en-GB" smtClean="0"/>
              <a:pPr/>
              <a:t>4</a:t>
            </a:fld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731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6099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EYLAYOUT" val="n_dark_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B_ppt">
  <a:themeElements>
    <a:clrScheme name="PRB">
      <a:dk1>
        <a:sysClr val="windowText" lastClr="000000"/>
      </a:dk1>
      <a:lt1>
        <a:sysClr val="window" lastClr="FFFFFF"/>
      </a:lt1>
      <a:dk2>
        <a:srgbClr val="262626"/>
      </a:dk2>
      <a:lt2>
        <a:srgbClr val="EFEFEF"/>
      </a:lt2>
      <a:accent1>
        <a:srgbClr val="FFF00B"/>
      </a:accent1>
      <a:accent2>
        <a:srgbClr val="F3C70D"/>
      </a:accent2>
      <a:accent3>
        <a:srgbClr val="F76F09"/>
      </a:accent3>
      <a:accent4>
        <a:srgbClr val="214386"/>
      </a:accent4>
      <a:accent5>
        <a:srgbClr val="87A5E1"/>
      </a:accent5>
      <a:accent6>
        <a:srgbClr val="DDE6F7"/>
      </a:accent6>
      <a:hlink>
        <a:srgbClr val="48A1FA"/>
      </a:hlink>
      <a:folHlink>
        <a:srgbClr val="C2DFF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2013 -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B_ppt" id="{9BA3690A-3DB7-D241-B0B1-FDB9B01042CA}" vid="{A4DB5197-7A60-AE4C-A705-8D0CCCEE2C09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2fd6057-fd61-491c-ae1d-35cd63c4281a"/>
    <lcf76f155ced4ddcb4097134ff3c332f xmlns="0ca110bf-1397-432a-831f-ace30d95bf45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087700D314BF4F9D7F36D32E8BC023" ma:contentTypeVersion="13" ma:contentTypeDescription="Create a new document." ma:contentTypeScope="" ma:versionID="b1d9733be41dd536c63ac0c27cb72851">
  <xsd:schema xmlns:xsd="http://www.w3.org/2001/XMLSchema" xmlns:xs="http://www.w3.org/2001/XMLSchema" xmlns:p="http://schemas.microsoft.com/office/2006/metadata/properties" xmlns:ns2="0ca110bf-1397-432a-831f-ace30d95bf45" xmlns:ns3="d2fd6057-fd61-491c-ae1d-35cd63c4281a" targetNamespace="http://schemas.microsoft.com/office/2006/metadata/properties" ma:root="true" ma:fieldsID="a185de397dfe61ea598636175033bd43" ns2:_="" ns3:_="">
    <xsd:import namespace="0ca110bf-1397-432a-831f-ace30d95bf45"/>
    <xsd:import namespace="d2fd6057-fd61-491c-ae1d-35cd63c428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a110bf-1397-432a-831f-ace30d95bf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fd6057-fd61-491c-ae1d-35cd63c4281a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48f50848-797c-4edb-97eb-da16e5093426}" ma:internalName="TaxCatchAll" ma:showField="CatchAllData" ma:web="d2fd6057-fd61-491c-ae1d-35cd63c428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19DA4F-B7A6-4DFB-9848-9BE3730A0B4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E7BD7C-6226-4C59-A263-B78CE649EC3C}">
  <ds:schemaRefs>
    <ds:schemaRef ds:uri="0ca110bf-1397-432a-831f-ace30d95bf45"/>
    <ds:schemaRef ds:uri="http://www.w3.org/XML/1998/namespace"/>
    <ds:schemaRef ds:uri="d2fd6057-fd61-491c-ae1d-35cd63c4281a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5F718CB-AC34-4733-B34C-F57DBE6CD9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a110bf-1397-432a-831f-ace30d95bf45"/>
    <ds:schemaRef ds:uri="d2fd6057-fd61-491c-ae1d-35cd63c428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B_ppt</Template>
  <TotalTime>0</TotalTime>
  <Words>158</Words>
  <Application>Microsoft Office PowerPoint</Application>
  <PresentationFormat>Diavoorstelling (16:10)</PresentationFormat>
  <Paragraphs>43</Paragraphs>
  <Slides>5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5</vt:i4>
      </vt:variant>
    </vt:vector>
  </HeadingPairs>
  <TitlesOfParts>
    <vt:vector size="11" baseType="lpstr">
      <vt:lpstr>Aptos</vt:lpstr>
      <vt:lpstr>Aptos Display</vt:lpstr>
      <vt:lpstr>Arial</vt:lpstr>
      <vt:lpstr>Calibri</vt:lpstr>
      <vt:lpstr>PRB_ppt</vt:lpstr>
      <vt:lpstr>think-cell Slide</vt:lpstr>
      <vt:lpstr>SES 2+</vt:lpstr>
      <vt:lpstr>View of PRB</vt:lpstr>
      <vt:lpstr>View of PRB</vt:lpstr>
      <vt:lpstr>View of the PRB</vt:lpstr>
      <vt:lpstr>PowerPoint-presentatie</vt:lpstr>
    </vt:vector>
  </TitlesOfParts>
  <Manager>regina.vavrincsik@be.ey.com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lke Nelen</dc:creator>
  <cp:lastModifiedBy>Koen Milis</cp:lastModifiedBy>
  <cp:revision>3</cp:revision>
  <cp:lastPrinted>2017-12-12T20:50:36Z</cp:lastPrinted>
  <dcterms:created xsi:type="dcterms:W3CDTF">2025-09-19T08:10:15Z</dcterms:created>
  <dcterms:modified xsi:type="dcterms:W3CDTF">2025-11-26T08:5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£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19-11-20T09:16:06Z</vt:filetime>
  </property>
  <property fmtid="{D5CDD505-2E9C-101B-9397-08002B2CF9AE}" pid="12" name="ContentTypeId">
    <vt:lpwstr>0x01010097087700D314BF4F9D7F36D32E8BC023</vt:lpwstr>
  </property>
  <property fmtid="{D5CDD505-2E9C-101B-9397-08002B2CF9AE}" pid="13" name="_ExtendedDescription">
    <vt:lpwstr/>
  </property>
  <property fmtid="{D5CDD505-2E9C-101B-9397-08002B2CF9AE}" pid="14" name="MediaServiceImageTags">
    <vt:lpwstr/>
  </property>
  <property fmtid="{D5CDD505-2E9C-101B-9397-08002B2CF9AE}" pid="15" name="MSIP_Label_6bd9ddd1-4d20-43f6-abfa-fc3c07406f94_Enabled">
    <vt:lpwstr>true</vt:lpwstr>
  </property>
  <property fmtid="{D5CDD505-2E9C-101B-9397-08002B2CF9AE}" pid="16" name="MSIP_Label_6bd9ddd1-4d20-43f6-abfa-fc3c07406f94_SetDate">
    <vt:lpwstr>2025-11-17T18:22:37Z</vt:lpwstr>
  </property>
  <property fmtid="{D5CDD505-2E9C-101B-9397-08002B2CF9AE}" pid="17" name="MSIP_Label_6bd9ddd1-4d20-43f6-abfa-fc3c07406f94_Method">
    <vt:lpwstr>Standard</vt:lpwstr>
  </property>
  <property fmtid="{D5CDD505-2E9C-101B-9397-08002B2CF9AE}" pid="18" name="MSIP_Label_6bd9ddd1-4d20-43f6-abfa-fc3c07406f94_Name">
    <vt:lpwstr>Commission Use</vt:lpwstr>
  </property>
  <property fmtid="{D5CDD505-2E9C-101B-9397-08002B2CF9AE}" pid="19" name="MSIP_Label_6bd9ddd1-4d20-43f6-abfa-fc3c07406f94_SiteId">
    <vt:lpwstr>b24c8b06-522c-46fe-9080-70926f8dddb1</vt:lpwstr>
  </property>
  <property fmtid="{D5CDD505-2E9C-101B-9397-08002B2CF9AE}" pid="20" name="MSIP_Label_6bd9ddd1-4d20-43f6-abfa-fc3c07406f94_ActionId">
    <vt:lpwstr>3d75f7a0-e5a3-46a5-9933-b4d639c8d0ab</vt:lpwstr>
  </property>
  <property fmtid="{D5CDD505-2E9C-101B-9397-08002B2CF9AE}" pid="21" name="MSIP_Label_6bd9ddd1-4d20-43f6-abfa-fc3c07406f94_ContentBits">
    <vt:lpwstr>0</vt:lpwstr>
  </property>
  <property fmtid="{D5CDD505-2E9C-101B-9397-08002B2CF9AE}" pid="22" name="MSIP_Label_6bd9ddd1-4d20-43f6-abfa-fc3c07406f94_Tag">
    <vt:lpwstr>10, 3, 0, 1</vt:lpwstr>
  </property>
</Properties>
</file>